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4"/>
  </p:sldMasterIdLst>
  <p:notesMasterIdLst>
    <p:notesMasterId r:id="rId19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6" r:id="rId14"/>
    <p:sldId id="267" r:id="rId15"/>
    <p:sldId id="268" r:id="rId16"/>
    <p:sldId id="265" r:id="rId17"/>
    <p:sldId id="269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zhalika Levandouskaya" initials="AL" lastIdx="43" clrIdx="0">
    <p:extLst>
      <p:ext uri="{19B8F6BF-5375-455C-9EA6-DF929625EA0E}">
        <p15:presenceInfo xmlns:p15="http://schemas.microsoft.com/office/powerpoint/2012/main" userId="S::Anzhalika_Levandouskaya@epam.com::92adfee3-e19f-494c-b48e-2a057e813db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FD8C84-37A4-4848-A5CC-DED6E5E98C62}" v="63" dt="2021-07-02T09:45:30.9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/>
    <p:restoredTop sz="94609"/>
  </p:normalViewPr>
  <p:slideViewPr>
    <p:cSldViewPr snapToGrid="0">
      <p:cViewPr>
        <p:scale>
          <a:sx n="135" d="100"/>
          <a:sy n="135" d="100"/>
        </p:scale>
        <p:origin x="488" y="5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DA449-81D0-4C65-80FA-E84926361CC3}" type="datetimeFigureOut">
              <a:rPr lang="en-US" smtClean="0"/>
              <a:t>2/1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A5C3A5-A464-4897-B884-BB9B35180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57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epa.ms/stories" TargetMode="Externa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115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3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1799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91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9921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141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8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553998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E6B5C5-2BAC-FD6B-0C38-1084A40930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816010"/>
          </a:xfrm>
        </p:spPr>
        <p:txBody>
          <a:bodyPr>
            <a:spAutoFit/>
          </a:bodyPr>
          <a:lstStyle>
            <a:lvl1pPr>
              <a:defRPr sz="1800">
                <a:ln>
                  <a:noFill/>
                </a:ln>
                <a:solidFill>
                  <a:schemeClr val="bg1"/>
                </a:solidFill>
              </a:defRPr>
            </a:lvl1pPr>
            <a:lvl2pPr>
              <a:defRPr sz="1800"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 sz="1800"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 sz="1800"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 sz="1800"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78148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627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34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9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F520AD5-0FFD-4C8E-9342-58316930E0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1412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99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D1A126B-ECBC-446E-8C9B-41282A70F0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412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737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014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519275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April 2021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26961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010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D646D-415F-4D4E-B837-24C4E1CE09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371600"/>
            <a:ext cx="5764213" cy="3886200"/>
          </a:xfrm>
          <a:prstGeom prst="rect">
            <a:avLst/>
          </a:prstGeom>
        </p:spPr>
        <p:txBody>
          <a:bodyPr/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arge statement combined with supporting </a:t>
            </a:r>
            <a:br>
              <a:rPr lang="en-US"/>
            </a:br>
            <a:r>
              <a:rPr lang="en-US"/>
              <a:t>text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330B547-343B-414C-8E1F-67C7C72B2F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6901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</p:spTree>
    <p:extLst>
      <p:ext uri="{BB962C8B-B14F-4D97-AF65-F5344CB8AC3E}">
        <p14:creationId xmlns:p14="http://schemas.microsoft.com/office/powerpoint/2010/main" val="3063849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105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1082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29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936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4095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96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3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00D359-43E3-7747-A509-348C3E30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819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5079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5613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687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7523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00087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4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494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76920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2495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160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954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340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37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97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883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 Descri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4046861-98EF-8743-9C12-267EC1D8E7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57200" y="2730381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A666C02-EA3A-C441-B424-21DB595FE3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7200" y="4238918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</p:spTree>
    <p:extLst>
      <p:ext uri="{BB962C8B-B14F-4D97-AF65-F5344CB8AC3E}">
        <p14:creationId xmlns:p14="http://schemas.microsoft.com/office/powerpoint/2010/main" val="3953126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2895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15502107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 userDrawn="1"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06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181100"/>
            <a:ext cx="4426771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63" y="2717434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4663" y="3178108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663" y="3470825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63" y="409250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63" y="437943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" y="5003434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26DCF78-A14C-7743-94BB-7E13C2AD86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812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43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4065B5-82CF-0942-A54C-2DA21F89667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659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156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le lorem ipsum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E7284-C854-184C-A06D-CACC02F73E92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9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D9AC8-F415-4F41-81BB-33EEA9AD708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382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</a:t>
            </a:r>
            <a:r>
              <a:rPr lang="en-US" dirty="0" err="1"/>
              <a:t>Ejjhdit</a:t>
            </a:r>
            <a:r>
              <a:rPr lang="en-US" dirty="0"/>
              <a:t>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24FA9BDF-DF37-400E-B5C3-59CE8A1C6B6B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57" r:id="rId10"/>
    <p:sldLayoutId id="2147483760" r:id="rId11"/>
    <p:sldLayoutId id="2147483727" r:id="rId12"/>
    <p:sldLayoutId id="2147483729" r:id="rId13"/>
    <p:sldLayoutId id="2147483766" r:id="rId14"/>
    <p:sldLayoutId id="2147483751" r:id="rId15"/>
    <p:sldLayoutId id="2147483758" r:id="rId16"/>
    <p:sldLayoutId id="2147483767" r:id="rId17"/>
    <p:sldLayoutId id="2147483730" r:id="rId18"/>
    <p:sldLayoutId id="2147483731" r:id="rId19"/>
    <p:sldLayoutId id="2147483733" r:id="rId20"/>
    <p:sldLayoutId id="2147483740" r:id="rId21"/>
    <p:sldLayoutId id="2147483738" r:id="rId22"/>
    <p:sldLayoutId id="2147483736" r:id="rId23"/>
    <p:sldLayoutId id="2147483765" r:id="rId24"/>
    <p:sldLayoutId id="2147483744" r:id="rId25"/>
    <p:sldLayoutId id="2147483762" r:id="rId26"/>
    <p:sldLayoutId id="2147483755" r:id="rId27"/>
    <p:sldLayoutId id="2147483768" r:id="rId28"/>
    <p:sldLayoutId id="2147483743" r:id="rId29"/>
    <p:sldLayoutId id="2147483756" r:id="rId30"/>
    <p:sldLayoutId id="2147483734" r:id="rId31"/>
    <p:sldLayoutId id="2147483745" r:id="rId32"/>
    <p:sldLayoutId id="2147483741" r:id="rId33"/>
    <p:sldLayoutId id="2147483735" r:id="rId34"/>
    <p:sldLayoutId id="2147483737" r:id="rId35"/>
    <p:sldLayoutId id="2147483739" r:id="rId36"/>
    <p:sldLayoutId id="2147483742" r:id="rId37"/>
    <p:sldLayoutId id="2147483746" r:id="rId38"/>
    <p:sldLayoutId id="2147483732" r:id="rId39"/>
    <p:sldLayoutId id="2147483747" r:id="rId40"/>
    <p:sldLayoutId id="2147483748" r:id="rId41"/>
    <p:sldLayoutId id="2147483749" r:id="rId42"/>
    <p:sldLayoutId id="2147483759" r:id="rId43"/>
    <p:sldLayoutId id="2147483780" r:id="rId44"/>
    <p:sldLayoutId id="2147483761" r:id="rId45"/>
    <p:sldLayoutId id="2147483764" r:id="rId46"/>
    <p:sldLayoutId id="2147483750" r:id="rId47"/>
    <p:sldLayoutId id="2147483763" r:id="rId4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 userDrawn="1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288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 userDrawn="1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2" userDrawn="1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12" userDrawn="1">
          <p15:clr>
            <a:srgbClr val="F26B43"/>
          </p15:clr>
        </p15:guide>
        <p15:guide id="77" pos="4968" userDrawn="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DE665-95EF-7C44-9386-81441B656B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4261" y="4663440"/>
            <a:ext cx="5764213" cy="369332"/>
          </a:xfrm>
        </p:spPr>
        <p:txBody>
          <a:bodyPr/>
          <a:lstStyle/>
          <a:p>
            <a:r>
              <a:rPr lang="en-US" dirty="0"/>
              <a:t>Chris Xing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3BB777-E3A7-3349-B820-C2E473EC5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8584845" cy="2215991"/>
          </a:xfrm>
        </p:spPr>
        <p:txBody>
          <a:bodyPr>
            <a:spAutoFit/>
          </a:bodyPr>
          <a:lstStyle/>
          <a:p>
            <a:r>
              <a:rPr lang="en-US" sz="7200" dirty="0"/>
              <a:t>Engineering In Practice Typescrip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E60A145-F330-D756-D9AB-7CD07E95CCDA}"/>
              </a:ext>
            </a:extLst>
          </p:cNvPr>
          <p:cNvSpPr/>
          <p:nvPr/>
        </p:nvSpPr>
        <p:spPr bwMode="auto">
          <a:xfrm>
            <a:off x="466165" y="4526977"/>
            <a:ext cx="642257" cy="642257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2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CN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713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3D74F-1CEF-5C67-5146-BBE39D4CC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Literal Typ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8CA22B-5B41-38EE-7A75-26BAFB55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47F070-C208-4F7F-1E93-ACAF47F810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ertical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middl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bottom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orizontal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lef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enter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igh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</a:p>
          <a:p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prama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`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${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erticalAlignment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}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-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${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orizontalAlignment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}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`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-lef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 </a:t>
            </a:r>
            <a:r>
              <a:rPr lang="en-US" b="0" i="1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works!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-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iddel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 </a:t>
            </a:r>
            <a:r>
              <a:rPr lang="en-US" b="0" i="1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error!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1104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1F123-E339-27FB-AB23-BAEE9DC7F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l Inference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F5D2F2-9155-A812-2300-FC9710EBEE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A2C6BE-D831-84F4-5AE2-F9F34AD3CA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handleReque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GE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POS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“https://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example.com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”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“GET”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 🚀</a:t>
            </a: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handleReque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572176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B305C-7BF2-AB94-3B1C-71ABD0B5F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C5CAAE-1D5D-6C4E-C759-CD1557D772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2EFF9B-7E74-B2E0-CC86-7163B4EEE6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syn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g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) {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spons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fetch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spons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js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)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retur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endParaRPr lang="en-US" b="0" dirty="0">
              <a:solidFill>
                <a:srgbClr val="399EF4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cnOnly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);</a:t>
            </a:r>
          </a:p>
        </p:txBody>
      </p:sp>
    </p:spTree>
    <p:extLst>
      <p:ext uri="{BB962C8B-B14F-4D97-AF65-F5344CB8AC3E}">
        <p14:creationId xmlns:p14="http://schemas.microsoft.com/office/powerpoint/2010/main" val="41906722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94D65-3DD7-09BC-6167-95841779C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Assertion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A24F9-6009-F0FD-A310-BFB7F221C7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126C57-9F7E-D054-85AC-FFCD59CEA6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Canv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ain_canvas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TMLCanvas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endParaRPr lang="en-CN" dirty="0"/>
          </a:p>
          <a:p>
            <a:r>
              <a:rPr lang="en-CN" dirty="0"/>
              <a:t>-- OR –</a:t>
            </a:r>
          </a:p>
          <a:p>
            <a:endParaRPr lang="en-CN" dirty="0"/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Canv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TMLCanvas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ain_canvas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7345748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1E64C-8EAB-BEFB-FFC4-59E8EFFDA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null Assertion Operator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1A8D7A-2D73-B497-09F7-CFE705BD27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7EADA5-98E4-54D2-DC5C-AC2BB00838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oo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!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 🚀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ele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nnerHTM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! non-null assertion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4001856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CF9D141-DFD9-5E75-EA04-293C1D40CA86}"/>
              </a:ext>
            </a:extLst>
          </p:cNvPr>
          <p:cNvGrpSpPr/>
          <p:nvPr/>
        </p:nvGrpSpPr>
        <p:grpSpPr>
          <a:xfrm>
            <a:off x="-7669142" y="0"/>
            <a:ext cx="26108533" cy="6858000"/>
            <a:chOff x="-5837479" y="0"/>
            <a:chExt cx="21577300" cy="6858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5AAB424-B5FB-5DBF-4C37-5A86866CE4EA}"/>
                </a:ext>
              </a:extLst>
            </p:cNvPr>
            <p:cNvSpPr/>
            <p:nvPr/>
          </p:nvSpPr>
          <p:spPr bwMode="auto">
            <a:xfrm>
              <a:off x="5516321" y="0"/>
              <a:ext cx="10223500" cy="6858000"/>
            </a:xfrm>
            <a:prstGeom prst="rect">
              <a:avLst/>
            </a:prstGeom>
            <a:solidFill>
              <a:srgbClr val="FF8500"/>
            </a:solidFill>
            <a:ln>
              <a:noFill/>
            </a:ln>
            <a:effectLst/>
          </p:spPr>
          <p:txBody>
            <a:bodyPr wrap="square" lIns="0" tIns="0" rIns="0" bIns="0" rtlCol="0" anchor="ctr"/>
            <a:lstStyle/>
            <a:p>
              <a:pPr algn="ctr"/>
              <a:endParaRPr lang="en-CN" sz="2400" dirty="0">
                <a:solidFill>
                  <a:schemeClr val="bg1"/>
                </a:solidFill>
                <a:latin typeface="Calibri Light" panose="020F0302020204030204" pitchFamily="34" charset="0"/>
                <a:ea typeface="Human Sans ExtraLight" charset="0"/>
                <a:cs typeface="Human Sans ExtraLight" charset="0"/>
              </a:endParaRPr>
            </a:p>
          </p:txBody>
        </p:sp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F9BEF865-1FF5-B8B7-74E6-67063052092C}"/>
                </a:ext>
              </a:extLst>
            </p:cNvPr>
            <p:cNvSpPr/>
            <p:nvPr/>
          </p:nvSpPr>
          <p:spPr bwMode="auto">
            <a:xfrm>
              <a:off x="-5837479" y="0"/>
              <a:ext cx="13843000" cy="6858000"/>
            </a:xfrm>
            <a:prstGeom prst="parallelogram">
              <a:avLst>
                <a:gd name="adj" fmla="val 35741"/>
              </a:avLst>
            </a:prstGeom>
            <a:solidFill>
              <a:schemeClr val="accent2"/>
            </a:solidFill>
            <a:ln>
              <a:noFill/>
            </a:ln>
            <a:effectLst/>
          </p:spPr>
          <p:txBody>
            <a:bodyPr vert="horz" wrap="square" lIns="0" tIns="0" rIns="0" bIns="0" rtlCol="0" anchor="ctr" anchorCtr="1"/>
            <a:lstStyle/>
            <a:p>
              <a:pPr algn="ctr"/>
              <a:r>
                <a:rPr lang="en-CN" sz="2400" dirty="0"/>
                <a:t>                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E7C7BB0-7780-BB85-256D-2FF296C3CE85}"/>
                </a:ext>
              </a:extLst>
            </p:cNvPr>
            <p:cNvSpPr txBox="1"/>
            <p:nvPr/>
          </p:nvSpPr>
          <p:spPr>
            <a:xfrm>
              <a:off x="3352084" y="2989333"/>
              <a:ext cx="2926156" cy="7386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dirty="0">
                  <a:solidFill>
                    <a:schemeClr val="bg1"/>
                  </a:solidFill>
                </a:rPr>
                <a:t>F</a:t>
              </a:r>
              <a:r>
                <a:rPr lang="en-CN" sz="4800" dirty="0">
                  <a:solidFill>
                    <a:schemeClr val="bg1"/>
                  </a:solidFill>
                </a:rPr>
                <a:t>undamental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8D7B35E-C986-DE2A-3111-1A9672ED6FC0}"/>
                </a:ext>
              </a:extLst>
            </p:cNvPr>
            <p:cNvSpPr txBox="1"/>
            <p:nvPr/>
          </p:nvSpPr>
          <p:spPr>
            <a:xfrm>
              <a:off x="7694527" y="2989333"/>
              <a:ext cx="1844116" cy="7386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dirty="0">
                  <a:solidFill>
                    <a:schemeClr val="bg1"/>
                  </a:solidFill>
                </a:rPr>
                <a:t>In Action</a:t>
              </a:r>
              <a:endParaRPr lang="en-CN" sz="4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279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74FC3-CA44-4640-7263-A186F47BB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imitives</a:t>
            </a:r>
            <a:endParaRPr lang="en-C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42920F-D0A6-D663-53B1-D41FC75E65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461999"/>
            <a:ext cx="11280651" cy="1061060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hello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Hello, worl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ag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42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hecke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ru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A65396-8389-7066-C38B-0C85CBF76F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978693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747EC-1CFC-FBAB-D0A2-397C136E8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s</a:t>
            </a:r>
            <a:endParaRPr lang="en-C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739A5C-DB05-EFFE-7ADC-3524ED619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1EB3E6-9536-3C57-6A28-72709DF9B8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461999"/>
            <a:ext cx="11280651" cy="2587631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ramework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[]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eac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Vu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Soli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ange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[]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endParaRPr lang="en-US" dirty="0">
              <a:solidFill>
                <a:srgbClr val="EFEFEF"/>
              </a:solidFill>
              <a:latin typeface="FiraCode-Retina" panose="020B0809050000020004" pitchFamily="49" charset="0"/>
            </a:endParaRPr>
          </a:p>
          <a:p>
            <a:r>
              <a:rPr lang="en-US" dirty="0">
                <a:solidFill>
                  <a:srgbClr val="EFEFEF"/>
                </a:solidFill>
                <a:latin typeface="FiraCode-Retina" panose="020B0809050000020004" pitchFamily="49" charset="0"/>
              </a:rPr>
              <a:t>-- OR –-</a:t>
            </a:r>
          </a:p>
          <a:p>
            <a:endParaRPr lang="en-US" b="0" dirty="0">
              <a:solidFill>
                <a:srgbClr val="399EF4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rameworksGeneric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rray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eac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Vu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Soli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angesGeneric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rray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4123008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935A9-92A8-4DB4-B286-27B1B2E0E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5E6D5F-1941-82E7-8ABA-FB996B527E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BAAD47-8BC8-FCB0-E913-0ED0650A6C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year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fullti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hris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years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4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ullti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ru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;</a:t>
            </a:r>
          </a:p>
        </p:txBody>
      </p:sp>
    </p:spTree>
    <p:extLst>
      <p:ext uri="{BB962C8B-B14F-4D97-AF65-F5344CB8AC3E}">
        <p14:creationId xmlns:p14="http://schemas.microsoft.com/office/powerpoint/2010/main" val="1785845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A4E63-739D-6916-A22B-9A783BA3A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Properti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6E8915-AE03-947D-20D2-074D654E7C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72310D-0805-6F16-5DB9-6DFC6B515C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year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fullti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Generi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Partia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Optional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Generi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hris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;</a:t>
            </a:r>
          </a:p>
        </p:txBody>
      </p:sp>
    </p:spTree>
    <p:extLst>
      <p:ext uri="{BB962C8B-B14F-4D97-AF65-F5344CB8AC3E}">
        <p14:creationId xmlns:p14="http://schemas.microsoft.com/office/powerpoint/2010/main" val="1914429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08440-6D70-D2E2-A39E-310647B5B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21601D-96F7-CDA9-7B18-3E121737D5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033699-93F6-6F6C-7D18-F72ED09DF3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gree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retur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gree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&gt;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43801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9CA51-A9F6-379A-BABB-314DC252A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on Typ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B4396D-F2FF-BDA0-4E51-031E90059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A55BFD-F7BE-9FEB-0DA1-8B3372B0C0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dirty="0">
                <a:solidFill>
                  <a:srgbClr val="EFEFEF"/>
                </a:solidFill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{</a:t>
            </a:r>
          </a:p>
          <a:p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onsol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lo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Your ID is: 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+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endParaRPr lang="en-US" b="0" i="1" dirty="0">
              <a:solidFill>
                <a:srgbClr val="535A6B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i="1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OK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i="1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OK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202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i="1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Error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{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ID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22342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);</a:t>
            </a:r>
          </a:p>
        </p:txBody>
      </p:sp>
    </p:spTree>
    <p:extLst>
      <p:ext uri="{BB962C8B-B14F-4D97-AF65-F5344CB8AC3E}">
        <p14:creationId xmlns:p14="http://schemas.microsoft.com/office/powerpoint/2010/main" val="3217398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BDDB9-12D0-6B69-8A1B-45AD7221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Alias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CFF688-6CCB-68E0-83D9-CD51DF6ABC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4AE603-08CA-1EB3-33E5-1EABCD7AE5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 {</a:t>
            </a:r>
          </a:p>
          <a:p>
            <a:r>
              <a:rPr lang="zh-CN" alt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onsol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lo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Your ID is: 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+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16699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LASTDOWNLOADED" val="01.01.0001 00:00:00"/>
  <p:tag name="MIO_FALLBACK_LAYOUT" val="1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8"/>
</p:tagLst>
</file>

<file path=ppt/theme/theme1.xml><?xml version="1.0" encoding="utf-8"?>
<a:theme xmlns:a="http://schemas.openxmlformats.org/drawingml/2006/main" name="EPAM Master 2021.2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f44d29e-ce0d-48fd-88bf-98e6a958fd4b">
      <UserInfo>
        <DisplayName>Anzhalika Levandouskaya</DisplayName>
        <AccountId>19</AccountId>
        <AccountType/>
      </UserInfo>
      <UserInfo>
        <DisplayName>EPAM all Members</DisplayName>
        <AccountId>172</AccountId>
        <AccountType/>
      </UserInfo>
      <UserInfo>
        <DisplayName>EPAM all Members</DisplayName>
        <AccountId>1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117DE914E1FC49A35D90CD8516D943" ma:contentTypeVersion="12" ma:contentTypeDescription="Create a new document." ma:contentTypeScope="" ma:versionID="e1f7c3316c007ddcbbfc786aee0f30b6">
  <xsd:schema xmlns:xsd="http://www.w3.org/2001/XMLSchema" xmlns:xs="http://www.w3.org/2001/XMLSchema" xmlns:p="http://schemas.microsoft.com/office/2006/metadata/properties" xmlns:ns2="58f349b0-675b-4c01-8ee6-14db8fa12501" xmlns:ns3="df44d29e-ce0d-48fd-88bf-98e6a958fd4b" targetNamespace="http://schemas.microsoft.com/office/2006/metadata/properties" ma:root="true" ma:fieldsID="ebdd3e3611f83f5edb1b485483198b2e" ns2:_="" ns3:_="">
    <xsd:import namespace="58f349b0-675b-4c01-8ee6-14db8fa12501"/>
    <xsd:import namespace="df44d29e-ce0d-48fd-88bf-98e6a958fd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f349b0-675b-4c01-8ee6-14db8fa125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4d29e-ce0d-48fd-88bf-98e6a958fd4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2E3419-B313-4514-AD24-D56E1F80A63A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f44d29e-ce0d-48fd-88bf-98e6a958fd4b"/>
    <ds:schemaRef ds:uri="58f349b0-675b-4c01-8ee6-14db8fa12501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5DB04F-7584-4690-B257-DA90A69356DD}">
  <ds:schemaRefs>
    <ds:schemaRef ds:uri="58f349b0-675b-4c01-8ee6-14db8fa12501"/>
    <ds:schemaRef ds:uri="df44d29e-ce0d-48fd-88bf-98e6a958fd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7CA341C-74C1-4577-8C96-EF2605DC52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3</TotalTime>
  <Words>515</Words>
  <Application>Microsoft Macintosh PowerPoint</Application>
  <PresentationFormat>Widescreen</PresentationFormat>
  <Paragraphs>85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Calibri Bold</vt:lpstr>
      <vt:lpstr>Arial</vt:lpstr>
      <vt:lpstr>Calibri</vt:lpstr>
      <vt:lpstr>Calibri Light</vt:lpstr>
      <vt:lpstr>FiraCode-Retina</vt:lpstr>
      <vt:lpstr>EPAM Master 2021.2</vt:lpstr>
      <vt:lpstr>Engineering In Practice Typescript</vt:lpstr>
      <vt:lpstr>PowerPoint Presentation</vt:lpstr>
      <vt:lpstr>The primitives</vt:lpstr>
      <vt:lpstr>Arrays</vt:lpstr>
      <vt:lpstr>Objects</vt:lpstr>
      <vt:lpstr>Optional Properties</vt:lpstr>
      <vt:lpstr>Functions</vt:lpstr>
      <vt:lpstr>Union Types</vt:lpstr>
      <vt:lpstr>Type Aliases</vt:lpstr>
      <vt:lpstr>Template Literal Types</vt:lpstr>
      <vt:lpstr>Literal Inference</vt:lpstr>
      <vt:lpstr>Generics</vt:lpstr>
      <vt:lpstr>Type Assertions</vt:lpstr>
      <vt:lpstr>Non-null Assertion Operato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lina Vilava</dc:creator>
  <cp:lastModifiedBy>Chris Xing</cp:lastModifiedBy>
  <cp:revision>11</cp:revision>
  <dcterms:created xsi:type="dcterms:W3CDTF">2020-10-27T12:12:11Z</dcterms:created>
  <dcterms:modified xsi:type="dcterms:W3CDTF">2023-02-14T07:2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117DE914E1FC49A35D90CD8516D943</vt:lpwstr>
  </property>
</Properties>
</file>